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</p:sldMasterIdLst>
  <p:notesMasterIdLst>
    <p:notesMasterId r:id="rId21"/>
  </p:notesMasterIdLst>
  <p:sldIdLst>
    <p:sldId id="263" r:id="rId2"/>
    <p:sldId id="892" r:id="rId3"/>
    <p:sldId id="900" r:id="rId4"/>
    <p:sldId id="896" r:id="rId5"/>
    <p:sldId id="903" r:id="rId6"/>
    <p:sldId id="904" r:id="rId7"/>
    <p:sldId id="906" r:id="rId8"/>
    <p:sldId id="949" r:id="rId9"/>
    <p:sldId id="948" r:id="rId10"/>
    <p:sldId id="950" r:id="rId11"/>
    <p:sldId id="907" r:id="rId12"/>
    <p:sldId id="944" r:id="rId13"/>
    <p:sldId id="945" r:id="rId14"/>
    <p:sldId id="908" r:id="rId15"/>
    <p:sldId id="947" r:id="rId16"/>
    <p:sldId id="909" r:id="rId17"/>
    <p:sldId id="910" r:id="rId18"/>
    <p:sldId id="943" r:id="rId19"/>
    <p:sldId id="894" r:id="rId20"/>
  </p:sldIdLst>
  <p:sldSz cx="12192000" cy="6858000"/>
  <p:notesSz cx="6797675" cy="99298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704" userDrawn="1">
          <p15:clr>
            <a:srgbClr val="A4A3A4"/>
          </p15:clr>
        </p15:guide>
        <p15:guide id="4" pos="665" userDrawn="1">
          <p15:clr>
            <a:srgbClr val="A4A3A4"/>
          </p15:clr>
        </p15:guide>
        <p15:guide id="5" pos="7015" userDrawn="1">
          <p15:clr>
            <a:srgbClr val="A4A3A4"/>
          </p15:clr>
        </p15:guide>
        <p15:guide id="6" pos="438" userDrawn="1">
          <p15:clr>
            <a:srgbClr val="A4A3A4"/>
          </p15:clr>
        </p15:guide>
        <p15:guide id="7" orient="horz" pos="913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9" pos="72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0062AC"/>
    <a:srgbClr val="5B9BD5"/>
    <a:srgbClr val="B493CD"/>
    <a:srgbClr val="81C7BD"/>
    <a:srgbClr val="A6A6A6"/>
    <a:srgbClr val="66A559"/>
    <a:srgbClr val="F8F8DB"/>
    <a:srgbClr val="70AD47"/>
    <a:srgbClr val="A0C9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14" autoAdjust="0"/>
  </p:normalViewPr>
  <p:slideViewPr>
    <p:cSldViewPr snapToGrid="0" snapToObjects="1">
      <p:cViewPr varScale="1">
        <p:scale>
          <a:sx n="71" d="100"/>
          <a:sy n="71" d="100"/>
        </p:scale>
        <p:origin x="330" y="60"/>
      </p:cViewPr>
      <p:guideLst>
        <p:guide orient="horz" pos="2183"/>
        <p:guide pos="3840"/>
        <p:guide orient="horz" pos="2704"/>
        <p:guide pos="665"/>
        <p:guide pos="7015"/>
        <p:guide pos="438"/>
        <p:guide orient="horz" pos="913"/>
        <p:guide orient="horz" pos="3974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 snapToObjects="1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7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AppData\Roaming\Microsoft\Excel\ovs-dpdk-performance-improvement%20(version%201).xlsb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AppData\Roaming\Microsoft\Excel\ovs-dpdk-performance-improvement%20(version%201).xlsb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AppData\Roaming\Microsoft\Excel\ovs-dpdk-performance-improvement%20(version%201).xlsb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AppData\Roaming\Microsoft\Excel\ovs-dpdk-performance-improvement%20(version%201).xlsb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AppData\Roaming\Microsoft\Excel\ovs-dpdk-performance-improvement%20(version%201).xlsb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Documents\ovs-dpdk-performance-improvement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cap="none" dirty="0" smtClean="0"/>
              <a:t>OVS DPDK VM-to-VM Performance in non-</a:t>
            </a:r>
            <a:r>
              <a:rPr lang="en-US" altLang="zh-CN" cap="none" dirty="0" err="1" smtClean="0"/>
              <a:t>openstack</a:t>
            </a:r>
            <a:r>
              <a:rPr lang="en-US" altLang="zh-CN" cap="none" dirty="0" smtClean="0"/>
              <a:t> (</a:t>
            </a:r>
            <a:r>
              <a:rPr lang="en-US" altLang="zh-CN" cap="none" dirty="0" err="1" smtClean="0"/>
              <a:t>Gbsp</a:t>
            </a:r>
            <a:r>
              <a:rPr lang="en-US" altLang="zh-CN" cap="none" dirty="0" smtClean="0"/>
              <a:t>, no </a:t>
            </a:r>
            <a:r>
              <a:rPr lang="en-US" altLang="zh-CN" cap="none" dirty="0" err="1" smtClean="0"/>
              <a:t>ct</a:t>
            </a:r>
            <a:r>
              <a:rPr lang="en-US" altLang="zh-CN" cap="none" dirty="0" smtClean="0"/>
              <a:t>) 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41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0:$C$40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41:$C$41</c:f>
              <c:numCache>
                <c:formatCode>General</c:formatCode>
                <c:ptCount val="2"/>
                <c:pt idx="0">
                  <c:v>8.08</c:v>
                </c:pt>
                <c:pt idx="1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A$42</c:f>
              <c:strCache>
                <c:ptCount val="1"/>
                <c:pt idx="0">
                  <c:v>VXLAN TSO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2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0:$C$40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42:$C$42</c:f>
              <c:numCache>
                <c:formatCode>General</c:formatCode>
                <c:ptCount val="2"/>
                <c:pt idx="0">
                  <c:v>9.02</c:v>
                </c:pt>
                <c:pt idx="1">
                  <c:v>9.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848489216"/>
        <c:axId val="848490848"/>
        <c:axId val="0"/>
      </c:bar3DChart>
      <c:catAx>
        <c:axId val="848489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8490848"/>
        <c:crosses val="autoZero"/>
        <c:auto val="1"/>
        <c:lblAlgn val="ctr"/>
        <c:lblOffset val="100"/>
        <c:noMultiLvlLbl val="0"/>
      </c:catAx>
      <c:valAx>
        <c:axId val="8484908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48489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cap="none" dirty="0" smtClean="0"/>
              <a:t>OVS DPDK </a:t>
            </a:r>
            <a:r>
              <a:rPr lang="en-US" altLang="zh-CN" cap="none" dirty="0" err="1" smtClean="0"/>
              <a:t>vm</a:t>
            </a:r>
            <a:r>
              <a:rPr lang="en-US" altLang="zh-CN" cap="none" dirty="0" smtClean="0"/>
              <a:t>-to-</a:t>
            </a:r>
            <a:r>
              <a:rPr lang="en-US" altLang="zh-CN" cap="none" dirty="0" err="1" smtClean="0"/>
              <a:t>vm</a:t>
            </a:r>
            <a:r>
              <a:rPr lang="en-US" altLang="zh-CN" cap="none" dirty="0" smtClean="0"/>
              <a:t> TCP Performance (</a:t>
            </a:r>
            <a:r>
              <a:rPr lang="en-US" altLang="zh-CN" cap="none" dirty="0" err="1" smtClean="0"/>
              <a:t>Gbps</a:t>
            </a:r>
            <a:r>
              <a:rPr lang="en-US" altLang="zh-CN" cap="none" dirty="0" smtClean="0"/>
              <a:t>) </a:t>
            </a:r>
            <a:r>
              <a:rPr lang="en-US" altLang="zh-CN" cap="none" baseline="0" dirty="0" smtClean="0"/>
              <a:t> 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85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84:$C$84</c:f>
              <c:strCache>
                <c:ptCount val="2"/>
                <c:pt idx="0">
                  <c:v>TCP (no ct)</c:v>
                </c:pt>
                <c:pt idx="1">
                  <c:v>TCP (ct)</c:v>
                </c:pt>
              </c:strCache>
            </c:strRef>
          </c:cat>
          <c:val>
            <c:numRef>
              <c:f>Sheet1!$B$85:$C$85</c:f>
              <c:numCache>
                <c:formatCode>General</c:formatCode>
                <c:ptCount val="2"/>
                <c:pt idx="0">
                  <c:v>8.08</c:v>
                </c:pt>
                <c:pt idx="1">
                  <c:v>5.76</c:v>
                </c:pt>
              </c:numCache>
            </c:numRef>
          </c:val>
        </c:ser>
        <c:ser>
          <c:idx val="1"/>
          <c:order val="1"/>
          <c:tx>
            <c:strRef>
              <c:f>Sheet1!$A$86</c:f>
              <c:strCache>
                <c:ptCount val="1"/>
                <c:pt idx="0">
                  <c:v>VXLAN TSO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2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84:$C$84</c:f>
              <c:strCache>
                <c:ptCount val="2"/>
                <c:pt idx="0">
                  <c:v>TCP (no ct)</c:v>
                </c:pt>
                <c:pt idx="1">
                  <c:v>TCP (ct)</c:v>
                </c:pt>
              </c:strCache>
            </c:strRef>
          </c:cat>
          <c:val>
            <c:numRef>
              <c:f>Sheet1!$B$86:$C$86</c:f>
              <c:numCache>
                <c:formatCode>General</c:formatCode>
                <c:ptCount val="2"/>
                <c:pt idx="0">
                  <c:v>9.02</c:v>
                </c:pt>
                <c:pt idx="1">
                  <c:v>5.4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174246864"/>
        <c:axId val="1174244144"/>
        <c:axId val="0"/>
      </c:bar3DChart>
      <c:catAx>
        <c:axId val="117424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4244144"/>
        <c:crosses val="autoZero"/>
        <c:auto val="1"/>
        <c:lblAlgn val="ctr"/>
        <c:lblOffset val="100"/>
        <c:noMultiLvlLbl val="0"/>
      </c:catAx>
      <c:valAx>
        <c:axId val="11742441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7424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cap="none" dirty="0" smtClean="0"/>
              <a:t>OVS DPDK VM-to-VM Performance in </a:t>
            </a:r>
            <a:r>
              <a:rPr lang="en-US" cap="none" dirty="0" err="1" smtClean="0"/>
              <a:t>Openstack</a:t>
            </a:r>
            <a:r>
              <a:rPr lang="en-US" cap="none" dirty="0" smtClean="0"/>
              <a:t> (</a:t>
            </a:r>
            <a:r>
              <a:rPr lang="en-US" cap="none" dirty="0" err="1" smtClean="0"/>
              <a:t>Gbps</a:t>
            </a:r>
            <a:r>
              <a:rPr lang="en-US" cap="none" dirty="0" smtClean="0"/>
              <a:t>)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none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.3199999999999998</c:v>
                </c:pt>
                <c:pt idx="1">
                  <c:v>2.4900000000000002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VXLAN TSO</c:v>
                </c:pt>
              </c:strCache>
            </c:strRef>
          </c:tx>
          <c:spPr>
            <a:solidFill>
              <a:schemeClr val="accent3">
                <a:alpha val="88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3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3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7.49</c:v>
                </c:pt>
                <c:pt idx="1">
                  <c:v>5.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174249040"/>
        <c:axId val="1174248496"/>
        <c:axId val="0"/>
      </c:bar3DChart>
      <c:catAx>
        <c:axId val="117424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4248496"/>
        <c:crosses val="autoZero"/>
        <c:auto val="1"/>
        <c:lblAlgn val="ctr"/>
        <c:lblOffset val="100"/>
        <c:noMultiLvlLbl val="0"/>
      </c:catAx>
      <c:valAx>
        <c:axId val="11742484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74249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cap="none" dirty="0" smtClean="0"/>
              <a:t>VM-</a:t>
            </a:r>
            <a:r>
              <a:rPr lang="en-US" altLang="zh-CN" cap="none" dirty="0" smtClean="0"/>
              <a:t>to-VM</a:t>
            </a:r>
            <a:r>
              <a:rPr lang="en-US" altLang="zh-CN" cap="none" baseline="0" dirty="0" smtClean="0"/>
              <a:t> F</a:t>
            </a:r>
            <a:r>
              <a:rPr lang="en-US" cap="none" dirty="0" smtClean="0"/>
              <a:t>loating IP Performance in OVS DPDK in </a:t>
            </a:r>
            <a:r>
              <a:rPr lang="en-US" cap="none" dirty="0" err="1" smtClean="0"/>
              <a:t>Openstack</a:t>
            </a:r>
            <a:r>
              <a:rPr lang="en-US" cap="none" dirty="0" smtClean="0"/>
              <a:t> (</a:t>
            </a:r>
            <a:r>
              <a:rPr lang="en-US" cap="none" dirty="0" err="1" smtClean="0"/>
              <a:t>Gbps</a:t>
            </a:r>
            <a:r>
              <a:rPr lang="en-US" cap="none" dirty="0" smtClean="0"/>
              <a:t>)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8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C$7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8:$C$8</c:f>
              <c:numCache>
                <c:formatCode>General</c:formatCode>
                <c:ptCount val="2"/>
                <c:pt idx="0">
                  <c:v>0.13400000000000001</c:v>
                </c:pt>
                <c:pt idx="1">
                  <c:v>0.12</c:v>
                </c:pt>
              </c:numCache>
            </c:numRef>
          </c:val>
        </c:ser>
        <c:ser>
          <c:idx val="1"/>
          <c:order val="1"/>
          <c:tx>
            <c:strRef>
              <c:f>Sheet1!$A$9</c:f>
              <c:strCache>
                <c:ptCount val="1"/>
                <c:pt idx="0">
                  <c:v>VXLAN TSO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2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7:$C$7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9:$C$9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1.5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174241968"/>
        <c:axId val="1174243056"/>
        <c:axId val="0"/>
      </c:bar3DChart>
      <c:catAx>
        <c:axId val="117424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74243056"/>
        <c:crosses val="autoZero"/>
        <c:auto val="1"/>
        <c:lblAlgn val="ctr"/>
        <c:lblOffset val="100"/>
        <c:noMultiLvlLbl val="0"/>
      </c:catAx>
      <c:valAx>
        <c:axId val="11742430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74241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cap="none" dirty="0" err="1" smtClean="0"/>
              <a:t>veth</a:t>
            </a:r>
            <a:r>
              <a:rPr lang="en-US" altLang="zh-CN" cap="none" dirty="0" smtClean="0"/>
              <a:t>-to-</a:t>
            </a:r>
            <a:r>
              <a:rPr lang="en-US" altLang="zh-CN" cap="none" dirty="0" err="1" smtClean="0"/>
              <a:t>veth</a:t>
            </a:r>
            <a:r>
              <a:rPr lang="en-US" altLang="zh-CN" cap="none" dirty="0" smtClean="0"/>
              <a:t> Performance (</a:t>
            </a:r>
            <a:r>
              <a:rPr lang="en-US" altLang="zh-CN" cap="none" dirty="0" err="1" smtClean="0"/>
              <a:t>Gbps</a:t>
            </a:r>
            <a:r>
              <a:rPr lang="en-US" altLang="zh-CN" cap="none" dirty="0" smtClean="0"/>
              <a:t>)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62</c:f>
              <c:strCache>
                <c:ptCount val="1"/>
                <c:pt idx="0">
                  <c:v>no PMD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61:$C$6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62:$C$62</c:f>
              <c:numCache>
                <c:formatCode>General</c:formatCode>
                <c:ptCount val="2"/>
                <c:pt idx="0">
                  <c:v>6.28</c:v>
                </c:pt>
                <c:pt idx="1">
                  <c:v>1.59</c:v>
                </c:pt>
              </c:numCache>
            </c:numRef>
          </c:val>
        </c:ser>
        <c:ser>
          <c:idx val="1"/>
          <c:order val="1"/>
          <c:tx>
            <c:strRef>
              <c:f>Sheet1!$A$63</c:f>
              <c:strCache>
                <c:ptCount val="1"/>
                <c:pt idx="0">
                  <c:v>PMD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2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61:$C$6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63:$C$63</c:f>
              <c:numCache>
                <c:formatCode>General</c:formatCode>
                <c:ptCount val="2"/>
                <c:pt idx="0">
                  <c:v>22.2</c:v>
                </c:pt>
                <c:pt idx="1">
                  <c:v>3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174244688"/>
        <c:axId val="891188384"/>
        <c:axId val="0"/>
      </c:bar3DChart>
      <c:catAx>
        <c:axId val="1174244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88384"/>
        <c:crosses val="autoZero"/>
        <c:auto val="1"/>
        <c:lblAlgn val="ctr"/>
        <c:lblOffset val="100"/>
        <c:noMultiLvlLbl val="0"/>
      </c:catAx>
      <c:valAx>
        <c:axId val="8911883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74244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altLang="zh-CN" cap="none" dirty="0" smtClean="0"/>
              <a:t>tap-to-tap Performance (</a:t>
            </a:r>
            <a:r>
              <a:rPr lang="en-US" altLang="zh-CN" cap="none" dirty="0" err="1" smtClean="0"/>
              <a:t>Gbps</a:t>
            </a:r>
            <a:r>
              <a:rPr lang="en-US" altLang="zh-CN" cap="none" dirty="0" smtClean="0"/>
              <a:t>)</a:t>
            </a:r>
            <a:endParaRPr lang="zh-CN" cap="none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42</c:f>
              <c:strCache>
                <c:ptCount val="1"/>
                <c:pt idx="0">
                  <c:v>No PMD</c:v>
                </c:pt>
              </c:strCache>
            </c:strRef>
          </c:tx>
          <c:spPr>
            <a:solidFill>
              <a:schemeClr val="accent1">
                <a:alpha val="88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1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1:$C$4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42:$C$42</c:f>
              <c:numCache>
                <c:formatCode>General</c:formatCode>
                <c:ptCount val="2"/>
                <c:pt idx="0">
                  <c:v>19.600000000000001</c:v>
                </c:pt>
                <c:pt idx="1">
                  <c:v>2.2000000000000002</c:v>
                </c:pt>
              </c:numCache>
            </c:numRef>
          </c:val>
        </c:ser>
        <c:ser>
          <c:idx val="1"/>
          <c:order val="1"/>
          <c:tx>
            <c:strRef>
              <c:f>Sheet1!$A$43</c:f>
              <c:strCache>
                <c:ptCount val="1"/>
                <c:pt idx="0">
                  <c:v>PMD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spPr>
              <a:solidFill>
                <a:schemeClr val="accent2">
                  <a:alpha val="30000"/>
                </a:schemeClr>
              </a:solidFill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1:$C$41</c:f>
              <c:strCache>
                <c:ptCount val="2"/>
                <c:pt idx="0">
                  <c:v>TCP Performance</c:v>
                </c:pt>
                <c:pt idx="1">
                  <c:v>UDP Performance</c:v>
                </c:pt>
              </c:strCache>
            </c:strRef>
          </c:cat>
          <c:val>
            <c:numRef>
              <c:f>Sheet1!$B$43:$C$43</c:f>
              <c:numCache>
                <c:formatCode>General</c:formatCode>
                <c:ptCount val="2"/>
                <c:pt idx="0">
                  <c:v>27.3</c:v>
                </c:pt>
                <c:pt idx="1">
                  <c:v>3.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245455600"/>
        <c:axId val="1245458320"/>
        <c:axId val="0"/>
      </c:bar3DChart>
      <c:catAx>
        <c:axId val="124545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45458320"/>
        <c:crosses val="autoZero"/>
        <c:auto val="1"/>
        <c:lblAlgn val="ctr"/>
        <c:lblOffset val="100"/>
        <c:noMultiLvlLbl val="0"/>
      </c:catAx>
      <c:valAx>
        <c:axId val="12454583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45455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900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900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9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18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07699-DDF8-40AC-94ED-646291E09615}" type="datetimeFigureOut">
              <a:rPr lang="zh-CN" altLang="en-US" smtClean="0"/>
              <a:t>2020/11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7B323-2453-4BD4-85E5-86B4F4674A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6126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78983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838200" y="6377941"/>
            <a:ext cx="2743200" cy="365125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3/2020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899701" y="6377941"/>
            <a:ext cx="2743200" cy="36512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0421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62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20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957" y="4936922"/>
            <a:ext cx="2864762" cy="59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13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rgbClr val="0062AC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20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10005604" y="5014985"/>
            <a:ext cx="0" cy="54000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占位符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113181" y="5076548"/>
            <a:ext cx="1572313" cy="457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aseline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20XX</a:t>
            </a:r>
            <a:r>
              <a:rPr lang="zh-CN" altLang="en-US" dirty="0"/>
              <a:t>年</a:t>
            </a:r>
            <a:r>
              <a:rPr lang="en-US" altLang="zh-CN" dirty="0"/>
              <a:t>X</a:t>
            </a:r>
            <a:r>
              <a:rPr lang="zh-CN" altLang="en-US" dirty="0"/>
              <a:t>月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4581" y="5135535"/>
            <a:ext cx="2199143" cy="40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242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419100"/>
            <a:ext cx="2590800" cy="97155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8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</a:t>
            </a:r>
            <a:endParaRPr lang="zh-CN" altLang="en-US" sz="48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496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0" y="156860"/>
            <a:ext cx="1386840" cy="91440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algn="ctr"/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1" hasCustomPrompt="1"/>
          </p:nvPr>
        </p:nvSpPr>
        <p:spPr>
          <a:xfrm>
            <a:off x="8066787" y="531125"/>
            <a:ext cx="3600000" cy="480131"/>
          </a:xfrm>
          <a:noFill/>
        </p:spPr>
        <p:txBody>
          <a:bodyPr wrap="square" rtlCol="0">
            <a:spAutoFit/>
          </a:bodyPr>
          <a:lstStyle>
            <a:lvl1pPr marL="0" indent="0" algn="r">
              <a:buNone/>
              <a:defRPr lang="zh-CN" altLang="en-US" dirty="0">
                <a:solidFill>
                  <a:schemeClr val="bg1"/>
                </a:solidFill>
                <a:latin typeface="Noto Sans S Chinese Bold" panose="020B0800000000000000" pitchFamily="34" charset="-122"/>
                <a:ea typeface="Noto Sans S Chinese Bold" panose="020B0800000000000000" pitchFamily="34" charset="-122"/>
              </a:defRPr>
            </a:lvl1pPr>
          </a:lstStyle>
          <a:p>
            <a:pPr marL="0" lvl="0"/>
            <a:r>
              <a:rPr lang="zh-CN" altLang="en-US" dirty="0"/>
              <a:t>二级标题</a:t>
            </a:r>
          </a:p>
        </p:txBody>
      </p:sp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695325" y="1636943"/>
            <a:ext cx="10801350" cy="4351338"/>
          </a:xfrm>
        </p:spPr>
        <p:txBody>
          <a:bodyPr/>
          <a:lstStyle>
            <a:lvl1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935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95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864" y="-20638"/>
            <a:ext cx="12277727" cy="68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1084263"/>
            <a:ext cx="6172200" cy="259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/>
          <p:nvPr userDrawn="1">
            <p:custDataLst>
              <p:tags r:id="rId1"/>
            </p:custDataLst>
          </p:nvPr>
        </p:nvSpPr>
        <p:spPr>
          <a:xfrm>
            <a:off x="1" y="4211638"/>
            <a:ext cx="12188825" cy="12239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hank you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Q&amp;A</a:t>
            </a:r>
            <a:endParaRPr lang="en-US" sz="8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906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666D1FF-06E2-4934-9E3A-966CF48A1068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2020/11/23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899701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prstClr val="white">
                    <a:lumMod val="50000"/>
                  </a:prstClr>
                </a:solidFill>
              </a:rPr>
              <a:t>Page</a:t>
            </a:r>
            <a:fld id="{21B87BE8-92EA-4B29-B07D-105658B9214A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2" name="Rectangle 60"/>
          <p:cNvSpPr>
            <a:spLocks noChangeArrowheads="1"/>
          </p:cNvSpPr>
          <p:nvPr userDrawn="1"/>
        </p:nvSpPr>
        <p:spPr bwMode="auto">
          <a:xfrm>
            <a:off x="12310128" y="3615087"/>
            <a:ext cx="1368000" cy="32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91425" tIns="45712" rIns="91425" bIns="45712" anchor="ctr">
            <a:spAutoFit/>
          </a:bodyPr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latin typeface="Calibri"/>
              <a:ea typeface="宋体"/>
            </a:endParaRPr>
          </a:p>
        </p:txBody>
      </p:sp>
      <p:sp>
        <p:nvSpPr>
          <p:cNvPr id="63" name="Rectangle 62"/>
          <p:cNvSpPr>
            <a:spLocks noChangeArrowheads="1"/>
          </p:cNvSpPr>
          <p:nvPr userDrawn="1"/>
        </p:nvSpPr>
        <p:spPr bwMode="auto">
          <a:xfrm>
            <a:off x="12206100" y="2624244"/>
            <a:ext cx="2115671" cy="940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色参考方案：</a:t>
            </a:r>
          </a:p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同一页面内不超过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颜色，以下是几组配色方案，同一页面内只选择一组使用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"/>
          <p:cNvSpPr>
            <a:spLocks noChangeArrowheads="1"/>
          </p:cNvSpPr>
          <p:nvPr userDrawn="1"/>
        </p:nvSpPr>
        <p:spPr bwMode="auto">
          <a:xfrm>
            <a:off x="12206100" y="15456"/>
            <a:ext cx="2244436" cy="2647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及正文字体均为微软雅黑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页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4pt  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0 G0 B0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127 G127 B127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文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-2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目录 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-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 :18~24pt  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黑色</a:t>
            </a:r>
          </a:p>
        </p:txBody>
      </p:sp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136604"/>
            <a:ext cx="1080000" cy="338147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515489"/>
            <a:ext cx="1080000" cy="337608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273261"/>
            <a:ext cx="1080000" cy="338147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652146"/>
            <a:ext cx="1080000" cy="336422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893835"/>
            <a:ext cx="1080000" cy="338688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029306"/>
            <a:ext cx="1080000" cy="338688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3757719"/>
            <a:ext cx="1080000" cy="338147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408729"/>
            <a:ext cx="1080000" cy="33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4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3" r:id="rId2"/>
    <p:sldLayoutId id="2147483664" r:id="rId3"/>
    <p:sldLayoutId id="2147483665" r:id="rId4"/>
    <p:sldLayoutId id="2147483666" r:id="rId5"/>
    <p:sldLayoutId id="2147483685" r:id="rId6"/>
    <p:sldLayoutId id="2147483689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21024" y="1844797"/>
            <a:ext cx="8274795" cy="1800000"/>
          </a:xfrm>
        </p:spPr>
        <p:txBody>
          <a:bodyPr>
            <a:normAutofit fontScale="90000"/>
          </a:bodyPr>
          <a:lstStyle/>
          <a:p>
            <a:r>
              <a:rPr lang="en-US" altLang="zh-CN" b="1" dirty="0"/>
              <a:t>OVS DPDK VXLAN &amp; VLAN TSO, GRO and GSO Implementation and Status Update</a:t>
            </a:r>
            <a:endParaRPr lang="zh-CN" altLang="en-US" b="1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561707" y="3707716"/>
            <a:ext cx="7200000" cy="504000"/>
          </a:xfrm>
        </p:spPr>
        <p:txBody>
          <a:bodyPr/>
          <a:lstStyle/>
          <a:p>
            <a:r>
              <a:rPr lang="en-US" altLang="zh-CN" dirty="0" smtClean="0"/>
              <a:t>Yi Yang @ Inspur Cloud</a:t>
            </a:r>
            <a:endParaRPr lang="zh-CN" altLang="en-US" dirty="0"/>
          </a:p>
        </p:txBody>
      </p:sp>
      <p:sp>
        <p:nvSpPr>
          <p:cNvPr id="7" name="任意多边形 6"/>
          <p:cNvSpPr/>
          <p:nvPr/>
        </p:nvSpPr>
        <p:spPr>
          <a:xfrm>
            <a:off x="0" y="2279725"/>
            <a:ext cx="2134623" cy="2399852"/>
          </a:xfrm>
          <a:custGeom>
            <a:avLst/>
            <a:gdLst>
              <a:gd name="connsiteX0" fmla="*/ 0 w 2529840"/>
              <a:gd name="connsiteY0" fmla="*/ 541020 h 2171700"/>
              <a:gd name="connsiteX1" fmla="*/ 0 w 2529840"/>
              <a:gd name="connsiteY1" fmla="*/ 1638300 h 2171700"/>
              <a:gd name="connsiteX2" fmla="*/ 906780 w 2529840"/>
              <a:gd name="connsiteY2" fmla="*/ 2171700 h 2171700"/>
              <a:gd name="connsiteX3" fmla="*/ 2529840 w 2529840"/>
              <a:gd name="connsiteY3" fmla="*/ 1089660 h 2171700"/>
              <a:gd name="connsiteX4" fmla="*/ 899160 w 2529840"/>
              <a:gd name="connsiteY4" fmla="*/ 0 h 2171700"/>
              <a:gd name="connsiteX5" fmla="*/ 0 w 2529840"/>
              <a:gd name="connsiteY5" fmla="*/ 541020 h 217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2171700">
                <a:moveTo>
                  <a:pt x="0" y="541020"/>
                </a:moveTo>
                <a:lnTo>
                  <a:pt x="0" y="1638300"/>
                </a:lnTo>
                <a:lnTo>
                  <a:pt x="906780" y="2171700"/>
                </a:lnTo>
                <a:lnTo>
                  <a:pt x="2529840" y="1089660"/>
                </a:lnTo>
                <a:lnTo>
                  <a:pt x="899160" y="0"/>
                </a:lnTo>
                <a:lnTo>
                  <a:pt x="0" y="54102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菱形 7"/>
          <p:cNvSpPr/>
          <p:nvPr/>
        </p:nvSpPr>
        <p:spPr>
          <a:xfrm>
            <a:off x="1585892" y="2523902"/>
            <a:ext cx="1097462" cy="955606"/>
          </a:xfrm>
          <a:prstGeom prst="diamond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菱形 8"/>
          <p:cNvSpPr/>
          <p:nvPr/>
        </p:nvSpPr>
        <p:spPr>
          <a:xfrm>
            <a:off x="1572445" y="3481913"/>
            <a:ext cx="1097462" cy="955606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菱形 9"/>
          <p:cNvSpPr/>
          <p:nvPr/>
        </p:nvSpPr>
        <p:spPr>
          <a:xfrm>
            <a:off x="2121176" y="2717903"/>
            <a:ext cx="1768924" cy="1540276"/>
          </a:xfrm>
          <a:prstGeom prst="diamond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菱形 11"/>
          <p:cNvSpPr/>
          <p:nvPr/>
        </p:nvSpPr>
        <p:spPr>
          <a:xfrm>
            <a:off x="3535303" y="3470268"/>
            <a:ext cx="679113" cy="591332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4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518095"/>
            <a:ext cx="10641109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CP Performance with CT</a:t>
            </a:r>
            <a:endParaRPr lang="en-US" sz="1000" dirty="0"/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>
                <a:solidFill>
                  <a:schemeClr val="bg1"/>
                </a:solidFill>
              </a:rPr>
              <a:t>9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  <p:graphicFrame>
        <p:nvGraphicFramePr>
          <p:cNvPr id="5" name="图表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6346094"/>
              </p:ext>
            </p:extLst>
          </p:nvPr>
        </p:nvGraphicFramePr>
        <p:xfrm>
          <a:off x="1922930" y="1280131"/>
          <a:ext cx="8673352" cy="5120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00178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10349756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CP and UDP </a:t>
            </a:r>
            <a:r>
              <a:rPr lang="en-US" altLang="zh-CN" dirty="0"/>
              <a:t>performanc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>
          <a:xfrm>
            <a:off x="8066786" y="531125"/>
            <a:ext cx="3997911" cy="48013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98500" y="1181100"/>
            <a:ext cx="107696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Openstack</a:t>
            </a:r>
            <a:r>
              <a:rPr lang="zh-CN" altLang="en-US" sz="2400" dirty="0" smtClean="0"/>
              <a:t>：</a:t>
            </a:r>
            <a:endParaRPr lang="en-US" altLang="zh-CN" sz="2400" dirty="0" smtClean="0"/>
          </a:p>
          <a:p>
            <a:pPr>
              <a:lnSpc>
                <a:spcPct val="150000"/>
              </a:lnSpc>
            </a:pPr>
            <a:endParaRPr lang="en-US" altLang="zh-CN" sz="2400" dirty="0" smtClean="0"/>
          </a:p>
          <a:p>
            <a:pPr>
              <a:lnSpc>
                <a:spcPct val="150000"/>
              </a:lnSpc>
            </a:pPr>
            <a:endParaRPr lang="en-US" altLang="zh-CN" sz="2400" dirty="0"/>
          </a:p>
          <a:p>
            <a:pPr>
              <a:lnSpc>
                <a:spcPct val="150000"/>
              </a:lnSpc>
            </a:pPr>
            <a:endParaRPr lang="en-US" altLang="zh-CN" sz="2400" dirty="0" smtClean="0"/>
          </a:p>
          <a:p>
            <a:pPr>
              <a:lnSpc>
                <a:spcPct val="150000"/>
              </a:lnSpc>
            </a:pP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Openstack</a:t>
            </a:r>
            <a:r>
              <a:rPr lang="en-US" altLang="zh-CN" sz="2400" dirty="0" smtClean="0"/>
              <a:t> floating IP:</a:t>
            </a:r>
          </a:p>
          <a:p>
            <a:pPr>
              <a:lnSpc>
                <a:spcPct val="150000"/>
              </a:lnSpc>
            </a:pPr>
            <a:r>
              <a:rPr lang="en-US" altLang="zh-CN" sz="2400" dirty="0" smtClean="0"/>
              <a:t>                         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999333"/>
              </p:ext>
            </p:extLst>
          </p:nvPr>
        </p:nvGraphicFramePr>
        <p:xfrm>
          <a:off x="2019300" y="2114367"/>
          <a:ext cx="8128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D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DP (Other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OVS 2.9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.3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.49 (no UFO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XLAN</a:t>
                      </a:r>
                      <a:r>
                        <a:rPr lang="en-US" baseline="0" dirty="0" smtClean="0"/>
                        <a:t> TS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7.4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.28 (UFO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.15 (no</a:t>
                      </a:r>
                      <a:r>
                        <a:rPr lang="en-US" baseline="0" dirty="0" smtClean="0"/>
                        <a:t> UFO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896407"/>
              </p:ext>
            </p:extLst>
          </p:nvPr>
        </p:nvGraphicFramePr>
        <p:xfrm>
          <a:off x="3061149" y="459742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D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OVS 2.9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1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.120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XLAN</a:t>
                      </a:r>
                      <a:r>
                        <a:rPr lang="en-US" baseline="0" dirty="0" smtClean="0"/>
                        <a:t> TS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.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.55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184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518095"/>
            <a:ext cx="10484228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CP </a:t>
            </a:r>
            <a:r>
              <a:rPr lang="en-US" altLang="zh-CN" dirty="0"/>
              <a:t>and </a:t>
            </a:r>
            <a:r>
              <a:rPr lang="en-US" altLang="zh-CN" dirty="0" smtClean="0"/>
              <a:t>UDP in </a:t>
            </a:r>
            <a:r>
              <a:rPr lang="en-US" altLang="zh-CN" dirty="0" err="1" smtClean="0"/>
              <a:t>Openstack</a:t>
            </a:r>
            <a:endParaRPr lang="en-US" dirty="0"/>
          </a:p>
        </p:txBody>
      </p:sp>
      <p:graphicFrame>
        <p:nvGraphicFramePr>
          <p:cNvPr id="3" name="图表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5067225"/>
              </p:ext>
            </p:extLst>
          </p:nvPr>
        </p:nvGraphicFramePr>
        <p:xfrm>
          <a:off x="1165409" y="1425388"/>
          <a:ext cx="9722225" cy="4719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11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79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10174944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floating IP Performance</a:t>
            </a:r>
            <a:endParaRPr lang="en-US" dirty="0"/>
          </a:p>
        </p:txBody>
      </p:sp>
      <p:graphicFrame>
        <p:nvGraphicFramePr>
          <p:cNvPr id="3" name="图表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2200790"/>
              </p:ext>
            </p:extLst>
          </p:nvPr>
        </p:nvGraphicFramePr>
        <p:xfrm>
          <a:off x="578224" y="1214296"/>
          <a:ext cx="11147611" cy="5038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12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55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9481870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ap/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performanc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3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24862"/>
            <a:ext cx="12192000" cy="1750833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731539" y="2887690"/>
            <a:ext cx="7958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352789"/>
            <a:ext cx="12192000" cy="2482368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637831" y="1611479"/>
            <a:ext cx="461665" cy="1101951"/>
          </a:xfrm>
          <a:prstGeom prst="rect">
            <a:avLst/>
          </a:prstGeom>
          <a:solidFill>
            <a:schemeClr val="tx1"/>
          </a:solidFill>
        </p:spPr>
        <p:txBody>
          <a:bodyPr vert="vert270"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o PM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628867" y="5365375"/>
            <a:ext cx="461665" cy="700849"/>
          </a:xfrm>
          <a:prstGeom prst="rect">
            <a:avLst/>
          </a:prstGeom>
          <a:solidFill>
            <a:schemeClr val="tx1"/>
          </a:solidFill>
        </p:spPr>
        <p:txBody>
          <a:bodyPr vert="vert270"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</a:t>
            </a:r>
            <a:r>
              <a:rPr lang="en-US" dirty="0" smtClean="0">
                <a:solidFill>
                  <a:schemeClr val="bg1"/>
                </a:solidFill>
              </a:rPr>
              <a:t>MD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2606695"/>
              </p:ext>
            </p:extLst>
          </p:nvPr>
        </p:nvGraphicFramePr>
        <p:xfrm>
          <a:off x="1823495" y="2924687"/>
          <a:ext cx="8128000" cy="138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/>
                <a:gridCol w="1625600"/>
                <a:gridCol w="1625600"/>
                <a:gridCol w="1625600"/>
                <a:gridCol w="162560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eth</a:t>
                      </a:r>
                      <a:r>
                        <a:rPr lang="en-US" dirty="0" smtClean="0"/>
                        <a:t>-to-</a:t>
                      </a:r>
                      <a:r>
                        <a:rPr lang="en-US" dirty="0" err="1" smtClean="0"/>
                        <a:t>veth</a:t>
                      </a:r>
                      <a:r>
                        <a:rPr lang="en-US" dirty="0" smtClean="0"/>
                        <a:t> 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veth</a:t>
                      </a:r>
                      <a:r>
                        <a:rPr lang="en-US" dirty="0" smtClean="0"/>
                        <a:t>-to-</a:t>
                      </a:r>
                      <a:r>
                        <a:rPr lang="en-US" dirty="0" err="1" smtClean="0"/>
                        <a:t>veth</a:t>
                      </a:r>
                      <a:r>
                        <a:rPr lang="en-US" dirty="0" smtClean="0"/>
                        <a:t> UD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p-to-tap </a:t>
                      </a:r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p-to-tap </a:t>
                      </a:r>
                      <a:r>
                        <a:rPr lang="en-US" dirty="0" smtClean="0"/>
                        <a:t>UD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</a:t>
                      </a:r>
                      <a:r>
                        <a:rPr lang="en-US" baseline="0" dirty="0" smtClean="0"/>
                        <a:t> PM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.2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.5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9.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.2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M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.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.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7.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.7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657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9435356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/>
              <a:t>tap/</a:t>
            </a:r>
            <a:r>
              <a:rPr lang="en-US" altLang="zh-CN" dirty="0" err="1"/>
              <a:t>veth</a:t>
            </a:r>
            <a:r>
              <a:rPr lang="en-US" altLang="zh-CN" dirty="0"/>
              <a:t> performance</a:t>
            </a:r>
            <a:endParaRPr lang="en-US" dirty="0"/>
          </a:p>
        </p:txBody>
      </p:sp>
      <p:graphicFrame>
        <p:nvGraphicFramePr>
          <p:cNvPr id="3" name="图表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2331003"/>
              </p:ext>
            </p:extLst>
          </p:nvPr>
        </p:nvGraphicFramePr>
        <p:xfrm>
          <a:off x="208427" y="1275223"/>
          <a:ext cx="5750859" cy="5179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14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  <p:graphicFrame>
        <p:nvGraphicFramePr>
          <p:cNvPr id="6" name="图表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2487005"/>
              </p:ext>
            </p:extLst>
          </p:nvPr>
        </p:nvGraphicFramePr>
        <p:xfrm>
          <a:off x="6268569" y="1275222"/>
          <a:ext cx="5752800" cy="5179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7466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518095"/>
            <a:ext cx="10641109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interface stats and statu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5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272" y="1275225"/>
            <a:ext cx="4476750" cy="520065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6895" y="1277748"/>
            <a:ext cx="4495800" cy="532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8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known issue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698500" y="1181100"/>
            <a:ext cx="10769600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GRO can dramatically boost performance when </a:t>
            </a:r>
            <a:r>
              <a:rPr lang="en-US" altLang="zh-CN" sz="2400" dirty="0" err="1" smtClean="0"/>
              <a:t>conntrack</a:t>
            </a:r>
            <a:r>
              <a:rPr lang="en-US" altLang="zh-CN" sz="2400" dirty="0" smtClean="0"/>
              <a:t>/security group is us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GSO performance isn’t good, need to be optimiz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BIG ISSUE: tap </a:t>
            </a:r>
            <a:r>
              <a:rPr lang="en-US" altLang="zh-CN" sz="2400" dirty="0" smtClean="0"/>
              <a:t>in namespace won’t work after </a:t>
            </a:r>
            <a:r>
              <a:rPr lang="en-US" altLang="zh-CN" sz="2400" dirty="0" err="1" smtClean="0"/>
              <a:t>ovs-vswitchd</a:t>
            </a:r>
            <a:r>
              <a:rPr lang="en-US" altLang="zh-CN" sz="2400" dirty="0" smtClean="0"/>
              <a:t> is restart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tap&amp;veth</a:t>
            </a:r>
            <a:r>
              <a:rPr lang="en-US" altLang="zh-CN" sz="2400" dirty="0" smtClean="0"/>
              <a:t> performance has big drop when PMD thread has many </a:t>
            </a:r>
            <a:r>
              <a:rPr lang="en-US" altLang="zh-CN" sz="2400" dirty="0" err="1" smtClean="0"/>
              <a:t>tap&amp;veth</a:t>
            </a:r>
            <a:r>
              <a:rPr lang="en-US" altLang="zh-CN" sz="2400" dirty="0" smtClean="0"/>
              <a:t> interfaces to handl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ulti-segmented </a:t>
            </a:r>
            <a:r>
              <a:rPr lang="en-US" altLang="zh-CN" sz="2400" dirty="0" err="1" smtClean="0"/>
              <a:t>mbuf</a:t>
            </a:r>
            <a:r>
              <a:rPr lang="en-US" altLang="zh-CN" sz="2400" dirty="0" smtClean="0"/>
              <a:t> support (rejected before because of crash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Userspace</a:t>
            </a:r>
            <a:r>
              <a:rPr lang="en-US" altLang="zh-CN" sz="2400" dirty="0" smtClean="0"/>
              <a:t> </a:t>
            </a:r>
            <a:r>
              <a:rPr lang="en-US" altLang="zh-CN" sz="2400" dirty="0" err="1" smtClean="0"/>
              <a:t>conntrack</a:t>
            </a:r>
            <a:r>
              <a:rPr lang="en-US" altLang="zh-CN" sz="2400" dirty="0" smtClean="0"/>
              <a:t> and some other stuff have </a:t>
            </a:r>
            <a:r>
              <a:rPr lang="en-US" altLang="zh-CN" sz="2400" dirty="0" smtClean="0"/>
              <a:t>big impact on performance from </a:t>
            </a:r>
            <a:r>
              <a:rPr lang="en-US" altLang="zh-CN" sz="2400" dirty="0" err="1" smtClean="0"/>
              <a:t>openstack</a:t>
            </a:r>
            <a:r>
              <a:rPr lang="en-US" altLang="zh-CN" sz="2400" dirty="0" smtClean="0"/>
              <a:t> performance </a:t>
            </a:r>
            <a:r>
              <a:rPr lang="en-US" altLang="zh-CN" sz="2400" dirty="0" smtClean="0"/>
              <a:t>data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IPv6 GRO &amp; GSO (TBD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39359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ummary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altLang="zh-CN" dirty="0" smtClean="0"/>
              <a:t>VXLAN TSO is very great featur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altLang="zh-CN" dirty="0" smtClean="0"/>
              <a:t>OVS DPDK is on the way to </a:t>
            </a:r>
            <a:r>
              <a:rPr lang="en-US" altLang="zh-CN" dirty="0" err="1" smtClean="0"/>
              <a:t>Openstack</a:t>
            </a:r>
            <a:r>
              <a:rPr lang="en-US" altLang="zh-CN" dirty="0" smtClean="0"/>
              <a:t> production </a:t>
            </a:r>
            <a:r>
              <a:rPr lang="en-US" altLang="zh-CN" dirty="0" smtClean="0"/>
              <a:t>environmen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altLang="zh-CN" dirty="0" smtClean="0"/>
              <a:t>There </a:t>
            </a:r>
            <a:r>
              <a:rPr lang="en-US" altLang="zh-CN" dirty="0" smtClean="0"/>
              <a:t>are still some road blocks to be </a:t>
            </a:r>
            <a:r>
              <a:rPr lang="en-US" altLang="zh-CN" dirty="0" smtClean="0"/>
              <a:t>removed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Multi-segment </a:t>
            </a:r>
            <a:r>
              <a:rPr lang="en-US" altLang="zh-CN" dirty="0" err="1" smtClean="0"/>
              <a:t>mbuf</a:t>
            </a:r>
            <a:r>
              <a:rPr lang="en-US" altLang="zh-CN" dirty="0" smtClean="0"/>
              <a:t> </a:t>
            </a:r>
            <a:r>
              <a:rPr lang="en-US" altLang="zh-CN" dirty="0" smtClean="0"/>
              <a:t>support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GRO </a:t>
            </a:r>
            <a:r>
              <a:rPr lang="en-US" altLang="zh-CN" dirty="0" smtClean="0"/>
              <a:t>and </a:t>
            </a:r>
            <a:r>
              <a:rPr lang="en-US" altLang="zh-CN" dirty="0" smtClean="0"/>
              <a:t>GSO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PMD </a:t>
            </a:r>
            <a:r>
              <a:rPr lang="en-US" altLang="zh-CN" dirty="0" smtClean="0"/>
              <a:t>support for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&amp; </a:t>
            </a:r>
            <a:r>
              <a:rPr lang="en-US" altLang="zh-CN" dirty="0" smtClean="0"/>
              <a:t>tap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restart </a:t>
            </a:r>
            <a:r>
              <a:rPr lang="en-US" altLang="zh-CN" dirty="0" smtClean="0"/>
              <a:t>issue for </a:t>
            </a:r>
            <a:r>
              <a:rPr lang="en-US" altLang="zh-CN" dirty="0" smtClean="0"/>
              <a:t>tap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6847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2067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Goals</a:t>
            </a:r>
            <a:r>
              <a:rPr lang="zh-CN" altLang="en-US" dirty="0" smtClean="0"/>
              <a:t> </a:t>
            </a:r>
            <a:r>
              <a:rPr lang="en-US" altLang="zh-CN" dirty="0" smtClean="0"/>
              <a:t>To Achieve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1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98500" y="1181100"/>
            <a:ext cx="10769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To run OVS DPDK in </a:t>
            </a:r>
            <a:r>
              <a:rPr lang="en-US" altLang="zh-CN" sz="2400" dirty="0" err="1"/>
              <a:t>Openstack</a:t>
            </a:r>
            <a:r>
              <a:rPr lang="en-US" altLang="zh-CN" sz="2400" dirty="0"/>
              <a:t> production environment</a:t>
            </a:r>
            <a:endParaRPr lang="zh-CN" altLang="en-US" sz="24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To support UFO (UDP Fragmentation Offload) for VM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To support GRO (Generic Receive Offload) and GSO(Generic Segment Offload) for VLAN and VXLA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To support VXLAN TSO (TCP Segmentation Offload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To support VXLAN </a:t>
            </a:r>
            <a:r>
              <a:rPr lang="en-US" altLang="zh-CN" sz="2400" dirty="0" smtClean="0"/>
              <a:t>UFO (some NICs can do this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VM-to-VM TCP can reach line speed in VXLAN cas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VM-to-VM UDP can reach  line speed in VXLAN case</a:t>
            </a:r>
          </a:p>
        </p:txBody>
      </p:sp>
    </p:spTree>
    <p:extLst>
      <p:ext uri="{BB962C8B-B14F-4D97-AF65-F5344CB8AC3E}">
        <p14:creationId xmlns:p14="http://schemas.microsoft.com/office/powerpoint/2010/main" val="242109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UFO Done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2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96686" y="2075543"/>
            <a:ext cx="4615543" cy="120032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root@ubuntu:~# ethtool -k ens3 | grep udp</a:t>
            </a:r>
          </a:p>
          <a:p>
            <a:r>
              <a:rPr lang="en-US" dirty="0">
                <a:solidFill>
                  <a:schemeClr val="bg1"/>
                </a:solidFill>
              </a:rPr>
              <a:t>udp-fragmentation-offload: </a:t>
            </a:r>
            <a:r>
              <a:rPr lang="en-US" dirty="0">
                <a:solidFill>
                  <a:srgbClr val="FF0000"/>
                </a:solidFill>
              </a:rPr>
              <a:t>on</a:t>
            </a:r>
          </a:p>
          <a:p>
            <a:r>
              <a:rPr lang="en-US" dirty="0">
                <a:solidFill>
                  <a:schemeClr val="bg1"/>
                </a:solidFill>
              </a:rPr>
              <a:t>tx-udp_tnl-segmentation: off [fixed]</a:t>
            </a:r>
          </a:p>
          <a:p>
            <a:r>
              <a:rPr lang="en-US" dirty="0">
                <a:solidFill>
                  <a:schemeClr val="bg1"/>
                </a:solidFill>
              </a:rPr>
              <a:t>root@ubuntu:~#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696686" y="4176665"/>
            <a:ext cx="11010632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qemu-system-x86_64 -enable-kvm -nographic -m 4096 -cpu host -smp 2\</a:t>
            </a:r>
          </a:p>
          <a:p>
            <a:r>
              <a:rPr lang="en-US" dirty="0">
                <a:solidFill>
                  <a:schemeClr val="bg1"/>
                </a:solidFill>
              </a:rPr>
              <a:t>    -object memory-backend-file,id=mem0,size=4G,mem-path=/</a:t>
            </a:r>
            <a:r>
              <a:rPr lang="en-US" dirty="0" smtClean="0">
                <a:solidFill>
                  <a:schemeClr val="bg1"/>
                </a:solidFill>
              </a:rPr>
              <a:t>dev/hugepages,share=on \</a:t>
            </a:r>
          </a:p>
          <a:p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smtClean="0">
                <a:solidFill>
                  <a:schemeClr val="bg1"/>
                </a:solidFill>
              </a:rPr>
              <a:t>   -numa </a:t>
            </a:r>
            <a:r>
              <a:rPr lang="en-US" dirty="0">
                <a:solidFill>
                  <a:schemeClr val="bg1"/>
                </a:solidFill>
              </a:rPr>
              <a:t>node,memdev=mem0 \</a:t>
            </a:r>
          </a:p>
          <a:p>
            <a:r>
              <a:rPr lang="en-US" dirty="0">
                <a:solidFill>
                  <a:schemeClr val="bg1"/>
                </a:solidFill>
              </a:rPr>
              <a:t>    -netdev type=tap,id=tap1,ifname=tap1,script=no,downscript=no,vhost=on,queues=2 \</a:t>
            </a:r>
          </a:p>
          <a:p>
            <a:r>
              <a:rPr lang="en-US" dirty="0">
                <a:solidFill>
                  <a:schemeClr val="bg1"/>
                </a:solidFill>
              </a:rPr>
              <a:t>    -device virtio-net-pci,host_mtu=1450,mac=52:54:00:12:34:56,netdev=tap1</a:t>
            </a:r>
            <a:r>
              <a:rPr lang="en-US" dirty="0" smtClean="0">
                <a:solidFill>
                  <a:schemeClr val="bg1"/>
                </a:solidFill>
              </a:rPr>
              <a:t>,\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                 csum=on,guest_csum=on,guest_ecn=on,guest_tso4=on,guest_tso6=on,\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                 gso=on,host_ufo=on,guest_ufo=on</a:t>
            </a:r>
            <a:r>
              <a:rPr lang="en-US" dirty="0" smtClean="0">
                <a:solidFill>
                  <a:schemeClr val="bg1"/>
                </a:solidFill>
              </a:rPr>
              <a:t>,mq=on,vectors=6,rx_queue_size=1024 </a:t>
            </a:r>
            <a:r>
              <a:rPr lang="en-US" dirty="0">
                <a:solidFill>
                  <a:schemeClr val="bg1"/>
                </a:solidFill>
              </a:rPr>
              <a:t>\</a:t>
            </a:r>
          </a:p>
          <a:p>
            <a:r>
              <a:rPr lang="en-US" dirty="0">
                <a:solidFill>
                  <a:schemeClr val="bg1"/>
                </a:solidFill>
              </a:rPr>
              <a:t>    </a:t>
            </a:r>
            <a:r>
              <a:rPr lang="en-US" dirty="0" smtClean="0">
                <a:solidFill>
                  <a:schemeClr val="bg1"/>
                </a:solidFill>
              </a:rPr>
              <a:t>xenial-server-cloudimg-amd64-disk.img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96686" y="1663908"/>
            <a:ext cx="690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VM:</a:t>
            </a:r>
            <a:endParaRPr lang="en-US" b="1" dirty="0"/>
          </a:p>
        </p:txBody>
      </p:sp>
      <p:sp>
        <p:nvSpPr>
          <p:cNvPr id="10" name="文本框 9"/>
          <p:cNvSpPr txBox="1"/>
          <p:nvPr/>
        </p:nvSpPr>
        <p:spPr>
          <a:xfrm>
            <a:off x="693419" y="3762363"/>
            <a:ext cx="2304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q</a:t>
            </a:r>
            <a:r>
              <a:rPr lang="en-US" b="1" dirty="0" smtClean="0"/>
              <a:t>emu parameters: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1467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1550890" y="518095"/>
            <a:ext cx="9917209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IPv4 GRO and GSO </a:t>
            </a:r>
            <a:r>
              <a:rPr lang="en-US" altLang="zh-CN" dirty="0" smtClean="0"/>
              <a:t>Done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3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8500" y="1181100"/>
            <a:ext cx="10769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VLAN TCP GRO (DPDK has supported since 17.11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VXLAN TCP GRO (</a:t>
            </a:r>
            <a:r>
              <a:rPr lang="en-US" altLang="zh-CN" sz="2400" dirty="0"/>
              <a:t>DPDK has </a:t>
            </a:r>
            <a:r>
              <a:rPr lang="en-US" altLang="zh-CN" sz="2400" dirty="0" smtClean="0"/>
              <a:t>supported since 17.11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VLAN </a:t>
            </a:r>
            <a:r>
              <a:rPr lang="en-US" altLang="zh-CN" sz="2000" dirty="0"/>
              <a:t>TCP </a:t>
            </a:r>
            <a:r>
              <a:rPr lang="en-US" altLang="zh-CN" sz="2000" dirty="0" smtClean="0"/>
              <a:t>GSO </a:t>
            </a:r>
            <a:r>
              <a:rPr lang="en-US" altLang="zh-CN" sz="2000" dirty="0"/>
              <a:t>(DPDK has supported since </a:t>
            </a:r>
            <a:r>
              <a:rPr lang="en-US" altLang="zh-CN" sz="2000" dirty="0" smtClean="0"/>
              <a:t>17.11)</a:t>
            </a:r>
            <a:endParaRPr lang="en-US" altLang="zh-CN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VXLAN </a:t>
            </a:r>
            <a:r>
              <a:rPr lang="en-US" altLang="zh-CN" sz="2000" dirty="0"/>
              <a:t>TCP GSO (DPDK has supported since </a:t>
            </a:r>
            <a:r>
              <a:rPr lang="en-US" altLang="zh-CN" sz="2000" dirty="0" smtClean="0"/>
              <a:t>17.11)</a:t>
            </a:r>
            <a:endParaRPr lang="en-US" altLang="zh-CN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/>
              <a:t>VLAN </a:t>
            </a:r>
            <a:r>
              <a:rPr lang="en-US" altLang="zh-CN" sz="2000" dirty="0" smtClean="0"/>
              <a:t>UDP </a:t>
            </a:r>
            <a:r>
              <a:rPr lang="en-US" altLang="zh-CN" sz="2000" dirty="0"/>
              <a:t>GSO (DPDK has supported since </a:t>
            </a:r>
            <a:r>
              <a:rPr lang="en-US" altLang="zh-CN" sz="2000" dirty="0" smtClean="0"/>
              <a:t>17.11</a:t>
            </a:r>
            <a:r>
              <a:rPr lang="en-US" altLang="zh-CN" sz="2000" dirty="0" smtClean="0"/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VLAN UDP GRO (Done by me, 20.11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/>
              <a:t>VXLAN UDP GRO (Done by me, 20.11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VXLAN </a:t>
            </a:r>
            <a:r>
              <a:rPr lang="en-US" altLang="zh-CN" sz="2000" dirty="0"/>
              <a:t>UDP GSO </a:t>
            </a:r>
            <a:r>
              <a:rPr lang="en-US" altLang="zh-CN" sz="2000" dirty="0" smtClean="0"/>
              <a:t>(Done by me, 20.11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TBD: IPv6 GRO and GSO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1746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296496"/>
            <a:ext cx="10094262" cy="978729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VXLAN TSO patch ready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4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98500" y="1181100"/>
            <a:ext cx="107696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ost important factor to achieve VM-to-VM TCP line spe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any NICs can support VXLAN TSO: XL710 (i40e), E810 (ice), </a:t>
            </a:r>
            <a:r>
              <a:rPr lang="en-US" altLang="zh-CN" sz="2400" dirty="0" err="1" smtClean="0"/>
              <a:t>ConnectX</a:t>
            </a:r>
            <a:r>
              <a:rPr lang="en-US" altLang="zh-CN" sz="2400" dirty="0" smtClean="0"/>
              <a:t>(mlx4, mlx5), etc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399505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/>
              <a:t>VXLAN </a:t>
            </a:r>
            <a:r>
              <a:rPr lang="en-US" altLang="zh-CN" dirty="0" smtClean="0"/>
              <a:t>UFO (TBD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5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98500" y="1181100"/>
            <a:ext cx="10769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Some NICs support UFO and VXLAN UFO (</a:t>
            </a:r>
            <a:r>
              <a:rPr lang="en-US" altLang="zh-CN" sz="2400" dirty="0" err="1" smtClean="0"/>
              <a:t>igc</a:t>
            </a:r>
            <a:r>
              <a:rPr lang="en-US" altLang="zh-CN" sz="2400" dirty="0" smtClean="0"/>
              <a:t>, e810, </a:t>
            </a:r>
            <a:r>
              <a:rPr lang="en-US" altLang="zh-CN" sz="2400" dirty="0" err="1" smtClean="0"/>
              <a:t>txgbe</a:t>
            </a:r>
            <a:r>
              <a:rPr lang="en-US" altLang="zh-CN" sz="2400" dirty="0" smtClean="0"/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UDP should have better performance than TCP, but not in fact,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The major reason is TCP can be offloaded but UDP can’t</a:t>
            </a:r>
            <a:endParaRPr lang="en-US" altLang="zh-CN" sz="2000" dirty="0"/>
          </a:p>
        </p:txBody>
      </p:sp>
    </p:spTree>
    <p:extLst>
      <p:ext uri="{BB962C8B-B14F-4D97-AF65-F5344CB8AC3E}">
        <p14:creationId xmlns:p14="http://schemas.microsoft.com/office/powerpoint/2010/main" val="297403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>
            <a:off x="6318413" y="3254494"/>
            <a:ext cx="2546252" cy="288999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rgbClr val="4472C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host2</a:t>
            </a:r>
            <a:endParaRPr lang="en-US" dirty="0"/>
          </a:p>
        </p:txBody>
      </p:sp>
      <p:sp>
        <p:nvSpPr>
          <p:cNvPr id="25" name="矩形 24"/>
          <p:cNvSpPr/>
          <p:nvPr/>
        </p:nvSpPr>
        <p:spPr>
          <a:xfrm>
            <a:off x="3390314" y="3231616"/>
            <a:ext cx="2546252" cy="292567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host1</a:t>
            </a:r>
            <a:endParaRPr 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10416991" cy="978729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CP and UDP performanc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6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98500" y="1181100"/>
            <a:ext cx="1076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Non-</a:t>
            </a:r>
            <a:r>
              <a:rPr lang="en-US" altLang="zh-CN" sz="2400" dirty="0" err="1" smtClean="0"/>
              <a:t>openstack</a:t>
            </a:r>
            <a:r>
              <a:rPr lang="en-US" altLang="zh-CN" sz="2400" dirty="0" smtClean="0"/>
              <a:t>, no </a:t>
            </a:r>
            <a:r>
              <a:rPr lang="en-US" altLang="zh-CN" sz="2400" dirty="0" err="1" smtClean="0"/>
              <a:t>conntrack</a:t>
            </a:r>
            <a:r>
              <a:rPr lang="en-US" altLang="zh-CN" sz="2400" dirty="0" smtClean="0"/>
              <a:t>, no other </a:t>
            </a:r>
            <a:r>
              <a:rPr lang="en-US" altLang="zh-CN" sz="2400" dirty="0" err="1" smtClean="0"/>
              <a:t>openflow</a:t>
            </a:r>
            <a:r>
              <a:rPr lang="en-US" altLang="zh-CN" sz="2400" dirty="0" smtClean="0"/>
              <a:t> entry except default entry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97521"/>
              </p:ext>
            </p:extLst>
          </p:nvPr>
        </p:nvGraphicFramePr>
        <p:xfrm>
          <a:off x="1399990" y="1945024"/>
          <a:ext cx="942489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6224"/>
                <a:gridCol w="2356224"/>
                <a:gridCol w="2356224"/>
                <a:gridCol w="2356224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DP (</a:t>
                      </a:r>
                      <a:r>
                        <a:rPr lang="en-US" dirty="0" err="1" smtClean="0"/>
                        <a:t>Gbps</a:t>
                      </a:r>
                      <a:r>
                        <a:rPr lang="en-US" dirty="0" smtClean="0"/>
                        <a:t>, -l 8192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DP (Other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rr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.0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.2 (-l 1478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XLAN TS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.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.83 (UFO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 (non-UFO, -l 8192)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3989225" y="3639402"/>
            <a:ext cx="1385047" cy="87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M1</a:t>
            </a:r>
            <a:endParaRPr lang="en-US" dirty="0"/>
          </a:p>
        </p:txBody>
      </p:sp>
      <p:sp>
        <p:nvSpPr>
          <p:cNvPr id="9" name="矩形 8"/>
          <p:cNvSpPr/>
          <p:nvPr/>
        </p:nvSpPr>
        <p:spPr>
          <a:xfrm>
            <a:off x="6899016" y="3639401"/>
            <a:ext cx="1385047" cy="8659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M2</a:t>
            </a:r>
            <a:endParaRPr lang="en-US" dirty="0"/>
          </a:p>
        </p:txBody>
      </p:sp>
      <p:sp>
        <p:nvSpPr>
          <p:cNvPr id="7" name="椭圆 6"/>
          <p:cNvSpPr/>
          <p:nvPr/>
        </p:nvSpPr>
        <p:spPr>
          <a:xfrm>
            <a:off x="3579089" y="4882665"/>
            <a:ext cx="2205317" cy="77203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VS DPDK </a:t>
            </a:r>
          </a:p>
          <a:p>
            <a:pPr algn="ctr"/>
            <a:r>
              <a:rPr lang="en-US" dirty="0" err="1" smtClean="0"/>
              <a:t>br-int</a:t>
            </a:r>
            <a:endParaRPr lang="en-US" dirty="0"/>
          </a:p>
        </p:txBody>
      </p:sp>
      <p:sp>
        <p:nvSpPr>
          <p:cNvPr id="10" name="矩形 9"/>
          <p:cNvSpPr/>
          <p:nvPr/>
        </p:nvSpPr>
        <p:spPr>
          <a:xfrm>
            <a:off x="4554002" y="4278134"/>
            <a:ext cx="242047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矩形 10"/>
          <p:cNvSpPr/>
          <p:nvPr/>
        </p:nvSpPr>
        <p:spPr>
          <a:xfrm>
            <a:off x="7470515" y="4298141"/>
            <a:ext cx="242047" cy="28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椭圆 11"/>
          <p:cNvSpPr/>
          <p:nvPr/>
        </p:nvSpPr>
        <p:spPr>
          <a:xfrm>
            <a:off x="6488879" y="4810544"/>
            <a:ext cx="2205317" cy="79548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VS DPDK </a:t>
            </a:r>
          </a:p>
          <a:p>
            <a:pPr algn="ctr"/>
            <a:r>
              <a:rPr lang="en-US" dirty="0" err="1" smtClean="0"/>
              <a:t>br-int</a:t>
            </a:r>
            <a:endParaRPr lang="en-US" dirty="0"/>
          </a:p>
        </p:txBody>
      </p:sp>
      <p:cxnSp>
        <p:nvCxnSpPr>
          <p:cNvPr id="14" name="直接连接符 13"/>
          <p:cNvCxnSpPr>
            <a:stCxn id="10" idx="2"/>
            <a:endCxn id="7" idx="0"/>
          </p:cNvCxnSpPr>
          <p:nvPr/>
        </p:nvCxnSpPr>
        <p:spPr>
          <a:xfrm>
            <a:off x="4675026" y="4566134"/>
            <a:ext cx="6722" cy="316531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11" idx="2"/>
            <a:endCxn id="12" idx="0"/>
          </p:cNvCxnSpPr>
          <p:nvPr/>
        </p:nvCxnSpPr>
        <p:spPr>
          <a:xfrm flipH="1">
            <a:off x="7591538" y="4586141"/>
            <a:ext cx="1" cy="224403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V="1">
            <a:off x="3895096" y="6636848"/>
            <a:ext cx="4585447" cy="53789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>
            <a:endCxn id="12" idx="4"/>
          </p:cNvCxnSpPr>
          <p:nvPr/>
        </p:nvCxnSpPr>
        <p:spPr>
          <a:xfrm flipH="1" flipV="1">
            <a:off x="7591538" y="5606033"/>
            <a:ext cx="2" cy="538452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>
            <a:endCxn id="7" idx="4"/>
          </p:cNvCxnSpPr>
          <p:nvPr/>
        </p:nvCxnSpPr>
        <p:spPr>
          <a:xfrm flipV="1">
            <a:off x="4681748" y="5654701"/>
            <a:ext cx="0" cy="502594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矩形 25"/>
          <p:cNvSpPr/>
          <p:nvPr/>
        </p:nvSpPr>
        <p:spPr>
          <a:xfrm>
            <a:off x="4551656" y="5922426"/>
            <a:ext cx="242047" cy="4706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矩形 26"/>
          <p:cNvSpPr/>
          <p:nvPr/>
        </p:nvSpPr>
        <p:spPr>
          <a:xfrm>
            <a:off x="7504137" y="5873368"/>
            <a:ext cx="242047" cy="4706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椭圆 30"/>
          <p:cNvSpPr/>
          <p:nvPr/>
        </p:nvSpPr>
        <p:spPr>
          <a:xfrm>
            <a:off x="7477003" y="5465353"/>
            <a:ext cx="212909" cy="26922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椭圆 31"/>
          <p:cNvSpPr/>
          <p:nvPr/>
        </p:nvSpPr>
        <p:spPr>
          <a:xfrm>
            <a:off x="7477002" y="4688767"/>
            <a:ext cx="212909" cy="26922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文本框 32"/>
          <p:cNvSpPr txBox="1"/>
          <p:nvPr/>
        </p:nvSpPr>
        <p:spPr>
          <a:xfrm>
            <a:off x="7610619" y="4545126"/>
            <a:ext cx="2259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rgbClr val="FF0000"/>
                </a:solidFill>
              </a:rPr>
              <a:t>dpdkvhostuserclien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2431470" y="4612734"/>
            <a:ext cx="22598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rgbClr val="FF0000"/>
                </a:solidFill>
              </a:rPr>
              <a:t>dpdkvhostuserclien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4561225" y="4745359"/>
            <a:ext cx="212909" cy="26922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椭圆 35"/>
          <p:cNvSpPr/>
          <p:nvPr/>
        </p:nvSpPr>
        <p:spPr>
          <a:xfrm>
            <a:off x="4583140" y="5530611"/>
            <a:ext cx="212909" cy="269226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文本框 36"/>
          <p:cNvSpPr txBox="1"/>
          <p:nvPr/>
        </p:nvSpPr>
        <p:spPr>
          <a:xfrm>
            <a:off x="4735338" y="5582237"/>
            <a:ext cx="933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XLA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8" name="文本框 37"/>
          <p:cNvSpPr txBox="1"/>
          <p:nvPr/>
        </p:nvSpPr>
        <p:spPr>
          <a:xfrm>
            <a:off x="7627380" y="5549971"/>
            <a:ext cx="933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VXLA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4031429" y="5844623"/>
            <a:ext cx="635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th1</a:t>
            </a:r>
            <a:endParaRPr lang="en-US" dirty="0"/>
          </a:p>
        </p:txBody>
      </p:sp>
      <p:sp>
        <p:nvSpPr>
          <p:cNvPr id="40" name="文本框 39"/>
          <p:cNvSpPr txBox="1"/>
          <p:nvPr/>
        </p:nvSpPr>
        <p:spPr>
          <a:xfrm>
            <a:off x="7683492" y="5828293"/>
            <a:ext cx="635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th1</a:t>
            </a:r>
            <a:endParaRPr lang="en-US" dirty="0"/>
          </a:p>
        </p:txBody>
      </p:sp>
      <p:cxnSp>
        <p:nvCxnSpPr>
          <p:cNvPr id="47" name="直接连接符 46"/>
          <p:cNvCxnSpPr>
            <a:endCxn id="26" idx="2"/>
          </p:cNvCxnSpPr>
          <p:nvPr/>
        </p:nvCxnSpPr>
        <p:spPr>
          <a:xfrm flipV="1">
            <a:off x="4672680" y="6393073"/>
            <a:ext cx="0" cy="311632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>
            <a:stCxn id="27" idx="2"/>
          </p:cNvCxnSpPr>
          <p:nvPr/>
        </p:nvCxnSpPr>
        <p:spPr>
          <a:xfrm>
            <a:off x="7625161" y="6344015"/>
            <a:ext cx="2219" cy="346622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845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10443885" cy="978729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TCP and UDP performanc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>
                <a:ea typeface="Noto Sans S Chinese Black" panose="020B0A00000000000000"/>
              </a:rPr>
              <a:t>7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98500" y="1181100"/>
            <a:ext cx="1076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Non-</a:t>
            </a:r>
            <a:r>
              <a:rPr lang="en-US" altLang="zh-CN" sz="2400" dirty="0" err="1" smtClean="0"/>
              <a:t>openstack</a:t>
            </a:r>
            <a:r>
              <a:rPr lang="en-US" altLang="zh-CN" sz="2400" dirty="0" smtClean="0"/>
              <a:t>, </a:t>
            </a:r>
            <a:r>
              <a:rPr lang="en-US" altLang="zh-CN" sz="2400" dirty="0" err="1" smtClean="0"/>
              <a:t>conntrack</a:t>
            </a:r>
            <a:endParaRPr lang="en-US" altLang="zh-CN" sz="2400" dirty="0" smtClean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341257"/>
              </p:ext>
            </p:extLst>
          </p:nvPr>
        </p:nvGraphicFramePr>
        <p:xfrm>
          <a:off x="1076433" y="2212310"/>
          <a:ext cx="10266798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2266"/>
                <a:gridCol w="3422266"/>
                <a:gridCol w="3422266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zh-CN" altLang="en-US" dirty="0" smtClean="0"/>
                        <a:t>， </a:t>
                      </a:r>
                      <a:r>
                        <a:rPr lang="en-US" altLang="zh-CN" dirty="0" smtClean="0"/>
                        <a:t>no </a:t>
                      </a:r>
                      <a:r>
                        <a:rPr lang="en-US" altLang="zh-CN" dirty="0" err="1" smtClean="0"/>
                        <a:t>conntrack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TCP (</a:t>
                      </a:r>
                      <a:r>
                        <a:rPr lang="en-US" dirty="0" err="1" smtClean="0"/>
                        <a:t>Gbps</a:t>
                      </a:r>
                      <a:r>
                        <a:rPr lang="zh-CN" altLang="en-US" dirty="0" smtClean="0"/>
                        <a:t>，</a:t>
                      </a:r>
                      <a:r>
                        <a:rPr lang="en-US" altLang="zh-CN" dirty="0" err="1" smtClean="0"/>
                        <a:t>conntrack</a:t>
                      </a:r>
                      <a:r>
                        <a:rPr lang="en-US" dirty="0" smtClean="0"/>
                        <a:t>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urr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.0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.76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VXLAN TS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.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.44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1691571" y="3751729"/>
            <a:ext cx="8803344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able=0, priority=10,ct_state=-</a:t>
            </a:r>
            <a:r>
              <a:rPr lang="en-US" dirty="0" err="1">
                <a:solidFill>
                  <a:schemeClr val="bg1"/>
                </a:solidFill>
              </a:rPr>
              <a:t>trk,ip,nw_src</a:t>
            </a:r>
            <a:r>
              <a:rPr lang="en-US" dirty="0">
                <a:solidFill>
                  <a:schemeClr val="bg1"/>
                </a:solidFill>
              </a:rPr>
              <a:t>=10.15.2.0/24 actions=</a:t>
            </a:r>
            <a:r>
              <a:rPr lang="en-US" dirty="0" err="1">
                <a:solidFill>
                  <a:schemeClr val="bg1"/>
                </a:solidFill>
              </a:rPr>
              <a:t>ct</a:t>
            </a:r>
            <a:r>
              <a:rPr lang="en-US" dirty="0">
                <a:solidFill>
                  <a:schemeClr val="bg1"/>
                </a:solidFill>
              </a:rPr>
              <a:t>(table=0)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10,ct_state=+</a:t>
            </a:r>
            <a:r>
              <a:rPr lang="en-US" dirty="0" err="1">
                <a:solidFill>
                  <a:schemeClr val="bg1"/>
                </a:solidFill>
              </a:rPr>
              <a:t>new+trk,ip,nw_dst</a:t>
            </a:r>
            <a:r>
              <a:rPr lang="en-US" dirty="0">
                <a:solidFill>
                  <a:schemeClr val="bg1"/>
                </a:solidFill>
              </a:rPr>
              <a:t>=10.15.2.9 actions=</a:t>
            </a:r>
            <a:r>
              <a:rPr lang="en-US" dirty="0" err="1">
                <a:solidFill>
                  <a:schemeClr val="bg1"/>
                </a:solidFill>
              </a:rPr>
              <a:t>ct</a:t>
            </a:r>
            <a:r>
              <a:rPr lang="en-US" dirty="0">
                <a:solidFill>
                  <a:schemeClr val="bg1"/>
                </a:solidFill>
              </a:rPr>
              <a:t>(commit),output:1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10,ct_state=+</a:t>
            </a:r>
            <a:r>
              <a:rPr lang="en-US" dirty="0" err="1">
                <a:solidFill>
                  <a:schemeClr val="bg1"/>
                </a:solidFill>
              </a:rPr>
              <a:t>est+trk,ip,nw_dst</a:t>
            </a:r>
            <a:r>
              <a:rPr lang="en-US" dirty="0">
                <a:solidFill>
                  <a:schemeClr val="bg1"/>
                </a:solidFill>
              </a:rPr>
              <a:t>=10.15.2.9 actions=output:1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10,ct_state=+</a:t>
            </a:r>
            <a:r>
              <a:rPr lang="en-US" dirty="0" err="1">
                <a:solidFill>
                  <a:schemeClr val="bg1"/>
                </a:solidFill>
              </a:rPr>
              <a:t>new+trk,ip,nw_src</a:t>
            </a:r>
            <a:r>
              <a:rPr lang="en-US" dirty="0">
                <a:solidFill>
                  <a:schemeClr val="bg1"/>
                </a:solidFill>
              </a:rPr>
              <a:t>=10.15.2.9 actions=drop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10,ct_state=+</a:t>
            </a:r>
            <a:r>
              <a:rPr lang="en-US" dirty="0" err="1">
                <a:solidFill>
                  <a:schemeClr val="bg1"/>
                </a:solidFill>
              </a:rPr>
              <a:t>est+trk,ip,nw_src</a:t>
            </a:r>
            <a:r>
              <a:rPr lang="en-US" dirty="0">
                <a:solidFill>
                  <a:schemeClr val="bg1"/>
                </a:solidFill>
              </a:rPr>
              <a:t>=10.15.2.9 actions=output:vxlan0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1,ct_state=-</a:t>
            </a:r>
            <a:r>
              <a:rPr lang="en-US" dirty="0" err="1">
                <a:solidFill>
                  <a:schemeClr val="bg1"/>
                </a:solidFill>
              </a:rPr>
              <a:t>new-est+trk,ip,nw_dst</a:t>
            </a:r>
            <a:r>
              <a:rPr lang="en-US" dirty="0">
                <a:solidFill>
                  <a:schemeClr val="bg1"/>
                </a:solidFill>
              </a:rPr>
              <a:t>=10.15.2.9 actions=drop</a:t>
            </a:r>
          </a:p>
          <a:p>
            <a:r>
              <a:rPr lang="en-US" dirty="0">
                <a:solidFill>
                  <a:schemeClr val="bg1"/>
                </a:solidFill>
              </a:rPr>
              <a:t>table=0, priority=0 actions=NORMAL</a:t>
            </a:r>
          </a:p>
        </p:txBody>
      </p:sp>
    </p:spTree>
    <p:extLst>
      <p:ext uri="{BB962C8B-B14F-4D97-AF65-F5344CB8AC3E}">
        <p14:creationId xmlns:p14="http://schemas.microsoft.com/office/powerpoint/2010/main" val="2573954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448845"/>
            <a:ext cx="10753169" cy="674031"/>
          </a:xfrm>
        </p:spPr>
        <p:txBody>
          <a:bodyPr/>
          <a:lstStyle/>
          <a:p>
            <a:r>
              <a:rPr lang="en-US" altLang="zh-CN" dirty="0"/>
              <a:t>Implementation </a:t>
            </a:r>
            <a:r>
              <a:rPr lang="en-US" altLang="zh-CN" dirty="0" smtClean="0"/>
              <a:t>Status: </a:t>
            </a:r>
            <a:r>
              <a:rPr lang="en-US" altLang="zh-CN" dirty="0" smtClean="0"/>
              <a:t>line speed TCP and UDP </a:t>
            </a:r>
            <a:r>
              <a:rPr lang="en-US" altLang="zh-CN" sz="1000" dirty="0" smtClean="0"/>
              <a:t>(almost done) </a:t>
            </a:r>
            <a:endParaRPr lang="en-US" sz="1000" dirty="0"/>
          </a:p>
        </p:txBody>
      </p:sp>
      <p:graphicFrame>
        <p:nvGraphicFramePr>
          <p:cNvPr id="3" name="图表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3958509"/>
              </p:ext>
            </p:extLst>
          </p:nvPr>
        </p:nvGraphicFramePr>
        <p:xfrm>
          <a:off x="1549490" y="1546412"/>
          <a:ext cx="8887105" cy="4479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8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91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rRTcE_EEmX0HYUaSG_.w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+Aria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946</TotalTime>
  <Words>832</Words>
  <Application>Microsoft Office PowerPoint</Application>
  <PresentationFormat>宽屏</PresentationFormat>
  <Paragraphs>174</Paragraphs>
  <Slides>19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7" baseType="lpstr">
      <vt:lpstr>Noto Sans S Chinese Black</vt:lpstr>
      <vt:lpstr>Noto Sans S Chinese Bold</vt:lpstr>
      <vt:lpstr>宋体</vt:lpstr>
      <vt:lpstr>微软雅黑</vt:lpstr>
      <vt:lpstr>Arial</vt:lpstr>
      <vt:lpstr>Calibri</vt:lpstr>
      <vt:lpstr>Wingdings</vt:lpstr>
      <vt:lpstr>1_Office 主题</vt:lpstr>
      <vt:lpstr>OVS DPDK VXLAN &amp; VLAN TSO, GRO and GSO Implementation and Status Update</vt:lpstr>
      <vt:lpstr>Goals To Achieve</vt:lpstr>
      <vt:lpstr>Implementation Status: UFO Done</vt:lpstr>
      <vt:lpstr>Implementation Status: IPv4 GRO and GSO Done</vt:lpstr>
      <vt:lpstr>Implementation Status: VXLAN TSO patch ready</vt:lpstr>
      <vt:lpstr>Implementation Status: VXLAN UFO (TBD)</vt:lpstr>
      <vt:lpstr>Implementation Status: TCP and UDP performance</vt:lpstr>
      <vt:lpstr>Implementation Status: TCP and UDP performance</vt:lpstr>
      <vt:lpstr>Implementation Status: line speed TCP and UDP (almost done) </vt:lpstr>
      <vt:lpstr>Implementation Status: TCP Performance with CT</vt:lpstr>
      <vt:lpstr>Implementation Status: TCP and UDP performance</vt:lpstr>
      <vt:lpstr>Implementation Status: TCP and UDP in Openstack</vt:lpstr>
      <vt:lpstr>Implementation Status: floating IP Performance</vt:lpstr>
      <vt:lpstr>Implementation Status: tap/veth performance</vt:lpstr>
      <vt:lpstr>Implementation Status: tap/veth performance</vt:lpstr>
      <vt:lpstr>Implementation Status: interface stats and status</vt:lpstr>
      <vt:lpstr>Implementation Status: known issues</vt:lpstr>
      <vt:lpstr>Summary</vt:lpstr>
      <vt:lpstr>PowerPoint 演示文稿</vt:lpstr>
    </vt:vector>
  </TitlesOfParts>
  <Company>浪潮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i Yang (杨燚)-云服务集团</dc:creator>
  <cp:lastModifiedBy>Yi Yang (杨燚)-云服务集团</cp:lastModifiedBy>
  <cp:revision>1663</cp:revision>
  <cp:lastPrinted>2019-12-06T08:28:34Z</cp:lastPrinted>
  <dcterms:created xsi:type="dcterms:W3CDTF">2015-02-06T03:25:55Z</dcterms:created>
  <dcterms:modified xsi:type="dcterms:W3CDTF">2020-11-23T14:53:10Z</dcterms:modified>
</cp:coreProperties>
</file>